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2"/>
  </p:notesMasterIdLst>
  <p:handoutMasterIdLst>
    <p:handoutMasterId r:id="rId73"/>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317"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5" autoAdjust="0"/>
    <p:restoredTop sz="75970" autoAdjust="0"/>
  </p:normalViewPr>
  <p:slideViewPr>
    <p:cSldViewPr snapToGrid="0" snapToObjects="1" showGuides="1">
      <p:cViewPr varScale="1">
        <p:scale>
          <a:sx n="163" d="100"/>
          <a:sy n="163" d="100"/>
        </p:scale>
        <p:origin x="282" y="12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8/30/2018</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8/3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576</TotalTime>
  <Words>6415</Words>
  <Application>Microsoft Office PowerPoint</Application>
  <PresentationFormat>Widescreen</PresentationFormat>
  <Paragraphs>1968</Paragraphs>
  <Slides>70</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0</vt:i4>
      </vt:variant>
    </vt:vector>
  </HeadingPairs>
  <TitlesOfParts>
    <vt:vector size="81" baseType="lpstr">
      <vt:lpstr>Arial</vt:lpstr>
      <vt:lpstr>Bahnschrift Light</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48</cp:revision>
  <dcterms:created xsi:type="dcterms:W3CDTF">2016-10-16T15:51:34Z</dcterms:created>
  <dcterms:modified xsi:type="dcterms:W3CDTF">2018-08-30T13:27:32Z</dcterms:modified>
</cp:coreProperties>
</file>